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4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1" d="100"/>
          <a:sy n="101" d="100"/>
        </p:scale>
        <p:origin x="1308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8328B3EC-6DFA-4D20-A425-C2B53CAC11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8328B3EC-6DFA-4D20-A425-C2B53CAC113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91A46D-B544-4718-AC2A-0EAE1D8593BF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1F24CF88-8B8B-4929-96C1-70F7F63D691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374641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D2E22575-17A0-435D-8450-1A794E99B2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D2E22575-17A0-435D-8450-1A794E99B2D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4B3083-2A70-43FC-B016-FCB35C0422A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November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816816-1C87-449F-85DE-A249328ACF0C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BFE32EA9-7FC1-4641-BBAD-A43B0995A960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8F28ED1B-61FB-4281-8C1B-00322D7F8B0E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F9CEA414-74D1-42FF-BD2F-5B3B697AC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ABA15C04-B258-4364-8D65-80C0F0C155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08480650-F7D0-4627-B973-D8B8EA0CBA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18">
            <a:extLst>
              <a:ext uri="{FF2B5EF4-FFF2-40B4-BE49-F238E27FC236}">
                <a16:creationId xmlns:a16="http://schemas.microsoft.com/office/drawing/2014/main" id="{2EEC66F6-BF49-4E4B-8C3C-532D144DFF7D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2F6D2158-DF9A-414F-BD51-FA2A868D51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2F6D2158-DF9A-414F-BD51-FA2A868D51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98270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kt 84" hidden="1">
            <a:extLst>
              <a:ext uri="{FF2B5EF4-FFF2-40B4-BE49-F238E27FC236}">
                <a16:creationId xmlns:a16="http://schemas.microsoft.com/office/drawing/2014/main" id="{59032CAB-C573-4E32-8928-97CC4EE55A0E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7170" name="Objekt 84" hidden="1">
                        <a:extLst>
                          <a:ext uri="{FF2B5EF4-FFF2-40B4-BE49-F238E27FC236}">
                            <a16:creationId xmlns:a16="http://schemas.microsoft.com/office/drawing/2014/main" id="{59032CAB-C573-4E32-8928-97CC4EE55A0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Titelplatzhalter 1">
            <a:extLst>
              <a:ext uri="{FF2B5EF4-FFF2-40B4-BE49-F238E27FC236}">
                <a16:creationId xmlns:a16="http://schemas.microsoft.com/office/drawing/2014/main" id="{60F8BB63-A1F6-4F8A-825A-64746DC428B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7172" name="Textplatzhalter 2">
            <a:extLst>
              <a:ext uri="{FF2B5EF4-FFF2-40B4-BE49-F238E27FC236}">
                <a16:creationId xmlns:a16="http://schemas.microsoft.com/office/drawing/2014/main" id="{2F2148B9-6219-423B-B9B1-328EB5C7ECD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FD80627C-0082-49A7-A790-B419CC1FECAB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5 November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48B6B3CF-E431-463A-8577-C0696DD94F19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9A2BF32-F70A-44E3-B222-B104DBA253B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175" name="Group 7">
            <a:extLst>
              <a:ext uri="{FF2B5EF4-FFF2-40B4-BE49-F238E27FC236}">
                <a16:creationId xmlns:a16="http://schemas.microsoft.com/office/drawing/2014/main" id="{9559AD99-62AC-4B91-93F5-BB9CD67C6DE0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177" name="Freeform 8">
              <a:extLst>
                <a:ext uri="{FF2B5EF4-FFF2-40B4-BE49-F238E27FC236}">
                  <a16:creationId xmlns:a16="http://schemas.microsoft.com/office/drawing/2014/main" id="{E786354E-381B-495F-954E-4675FE796B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178" name="Freeform 9">
              <a:extLst>
                <a:ext uri="{FF2B5EF4-FFF2-40B4-BE49-F238E27FC236}">
                  <a16:creationId xmlns:a16="http://schemas.microsoft.com/office/drawing/2014/main" id="{940005A3-6CF2-4C22-9FFC-0288601B19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179" name="Freeform 10">
              <a:extLst>
                <a:ext uri="{FF2B5EF4-FFF2-40B4-BE49-F238E27FC236}">
                  <a16:creationId xmlns:a16="http://schemas.microsoft.com/office/drawing/2014/main" id="{375A982B-3E17-4266-9968-11F56593F4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1458E4E-E98A-4197-A364-956901B588F1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CC6D21C7-6E14-4D6B-9CBA-A909F3EDA5D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163357287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97455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900170"/>
              </p:ext>
            </p:extLst>
          </p:nvPr>
        </p:nvGraphicFramePr>
        <p:xfrm>
          <a:off x="651885" y="1743075"/>
          <a:ext cx="8096579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763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价值和益处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重新利用洗瓶机废水作为工厂用水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将洗瓶机洗瓶后的废水收集到专门的储液罐中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zh-CN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zh-CN" sz="1200" dirty="0"/>
                    </a:p>
                    <a:p>
                      <a:pPr marL="162278" marR="0" lvl="1" indent="-16227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Pct val="100000"/>
                        <a:buFont typeface="Wingdings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zh-CN" altLang="de-DE" sz="1400" kern="1200" noProof="1">
                        <a:solidFill>
                          <a:srgbClr val="000000"/>
                        </a:solidFill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目的是可重复利用洗瓶后的废水，而不是将其扔掉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回收后的废水可作为工厂用水（例如，冲洗机器）或通过活性炭设备恢复水质。回收水中不可避免会含有过氧乙酸（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PAA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），因此不能再作为工艺用水。</a:t>
                      </a:r>
                      <a:endParaRPr kumimoji="0" lang="zh-CN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  <a:ea typeface="FZZhunYuan-M02S"/>
                        <a:cs typeface="FZZhunYuan-M02S"/>
                      </a:endParaRPr>
                    </a:p>
                    <a:p>
                      <a:pPr marL="162000" marR="0" lvl="0" indent="-162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zh-CN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  <a:ea typeface="FZZhunYuan-M02S"/>
                        <a:cs typeface="FZZhunYuan-M02S"/>
                      </a:endParaRPr>
                    </a:p>
                    <a:p>
                      <a:pPr marL="162000" marR="0" lvl="0" indent="-162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zh-CN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>
                <a:latin typeface="FZZhunYuan-M02S"/>
                <a:cs typeface="FZZhunYuan-M02S"/>
              </a:rPr>
              <a:t>重新利用洗瓶机洗瓶废水，减少工艺废水</a:t>
            </a:r>
            <a:endParaRPr lang="zh-C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6767" y="1403338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zh-CN" altLang="fr-FR" dirty="0">
                <a:latin typeface="FZZhunYuan-M02S"/>
                <a:cs typeface="FZZhunYuan-M02S"/>
              </a:rPr>
              <a:t>冲洗水回收系统</a:t>
            </a:r>
            <a:endParaRPr dirty="0">
              <a:latin typeface="FZZhunYuan-M02S"/>
              <a:cs typeface="FZZhunYuan-M02S"/>
            </a:endParaRP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zh-CN" altLang="fr-FR" dirty="0">
                <a:solidFill>
                  <a:srgbClr val="000000"/>
                </a:solidFill>
                <a:latin typeface="FZZhunYuan-M02S"/>
                <a:cs typeface="FZZhunYuan-M02S"/>
              </a:rPr>
              <a:t>价值：优化成本</a:t>
            </a:r>
            <a:r>
              <a:rPr lang="fr-FR" altLang="zh-CN" dirty="0">
                <a:solidFill>
                  <a:srgbClr val="000000"/>
                </a:solidFill>
                <a:latin typeface="FZZhunYuan-M02S"/>
                <a:cs typeface="FZZhunYuan-M02S"/>
              </a:rPr>
              <a:t>, </a:t>
            </a:r>
            <a:r>
              <a:rPr lang="zh-CN" altLang="fr-FR" dirty="0">
                <a:solidFill>
                  <a:srgbClr val="000000"/>
                </a:solidFill>
                <a:latin typeface="FZZhunYuan-M02S"/>
                <a:cs typeface="FZZhunYuan-M02S"/>
              </a:rPr>
              <a:t>可持续发展</a:t>
            </a:r>
            <a:endParaRPr lang="fr-FR" altLang="zh-CN" dirty="0">
              <a:solidFill>
                <a:srgbClr val="000000"/>
              </a:solidFill>
              <a:latin typeface="FZZhunYuan-M02S"/>
              <a:cs typeface="FZZhunYuan-M02S"/>
            </a:endParaRPr>
          </a:p>
          <a:p>
            <a:r>
              <a:rPr dirty="0" err="1">
                <a:solidFill>
                  <a:srgbClr val="000000"/>
                </a:solidFill>
                <a:latin typeface="FZZhunYuan-M02S"/>
                <a:cs typeface="FZZhunYuan-M02S"/>
              </a:rPr>
              <a:t>设备：无菌灌装机（</a:t>
            </a:r>
            <a:r>
              <a:rPr dirty="0" err="1">
                <a:solidFill>
                  <a:srgbClr val="000000"/>
                </a:solidFill>
                <a:cs typeface="FZZhunYuan-M02S"/>
              </a:rPr>
              <a:t>FMa</a:t>
            </a:r>
            <a:r>
              <a:rPr dirty="0">
                <a:solidFill>
                  <a:srgbClr val="000000"/>
                </a:solidFill>
                <a:latin typeface="FZZhunYuan-M02S"/>
                <a:cs typeface="FZZhunYuan-M02S"/>
              </a:rPr>
              <a:t>）</a:t>
            </a:r>
          </a:p>
          <a:p>
            <a:r>
              <a:rPr dirty="0">
                <a:solidFill>
                  <a:srgbClr val="000000"/>
                </a:solidFill>
                <a:latin typeface="FZZhunYuan-M02S"/>
                <a:cs typeface="FZZhunYuan-M02S"/>
              </a:rPr>
              <a:t>产品目录代码：</a:t>
            </a:r>
            <a:r>
              <a:rPr dirty="0">
                <a:solidFill>
                  <a:srgbClr val="000000"/>
                </a:solidFill>
                <a:cs typeface="FZZhunYuan-M02S"/>
              </a:rPr>
              <a:t>SP008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127" y="4149080"/>
            <a:ext cx="3600000" cy="125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85842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53</Words>
  <Application>Microsoft Office PowerPoint</Application>
  <PresentationFormat>Affichage à l'écran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Arial</vt:lpstr>
      <vt:lpstr>FZZhunYuan-M02S</vt:lpstr>
      <vt:lpstr>Wingdings</vt:lpstr>
      <vt:lpstr>NewSidel_Template_4x3_with add layouts</vt:lpstr>
      <vt:lpstr>think-cell Folie</vt:lpstr>
      <vt:lpstr>重新利用洗瓶机洗瓶废水，减少工艺废水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重新利用洗瓶机洗瓶废水，减少工艺废水</dc:title>
  <dc:creator>Gouriou, Lydie</dc:creator>
  <cp:lastModifiedBy>Sorega, Dan</cp:lastModifiedBy>
  <cp:revision>2</cp:revision>
  <dcterms:created xsi:type="dcterms:W3CDTF">2014-07-21T08:56:30Z</dcterms:created>
  <dcterms:modified xsi:type="dcterms:W3CDTF">2019-11-05T14:49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1-05T14:49:41.3301640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